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2" r:id="rId4"/>
  </p:sldMasterIdLst>
  <p:notesMasterIdLst>
    <p:notesMasterId r:id="rId10"/>
  </p:notesMasterIdLst>
  <p:sldIdLst>
    <p:sldId id="256" r:id="rId5"/>
    <p:sldId id="328" r:id="rId6"/>
    <p:sldId id="2147471065" r:id="rId7"/>
    <p:sldId id="2147471067" r:id="rId8"/>
    <p:sldId id="2147471066" r:id="rId9"/>
  </p:sldIdLst>
  <p:sldSz cx="9144000" cy="6858000" type="screen4x3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ara, Gladys" initials="FG" lastIdx="21" clrIdx="0">
    <p:extLst>
      <p:ext uri="{19B8F6BF-5375-455C-9EA6-DF929625EA0E}">
        <p15:presenceInfo xmlns:p15="http://schemas.microsoft.com/office/powerpoint/2012/main" userId="S::gladys.fabara@lippincott.com::fb681ce6-97a1-4a9b-813a-2c63b58511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C71"/>
    <a:srgbClr val="000000"/>
    <a:srgbClr val="0D0D0D"/>
    <a:srgbClr val="BFDCE8"/>
    <a:srgbClr val="7FB9D1"/>
    <a:srgbClr val="59A5C3"/>
    <a:srgbClr val="3390B5"/>
    <a:srgbClr val="FAFDFD"/>
    <a:srgbClr val="E4F1FA"/>
    <a:srgbClr val="F3F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6516"/>
  </p:normalViewPr>
  <p:slideViewPr>
    <p:cSldViewPr snapToGrid="0" snapToObjects="1">
      <p:cViewPr varScale="1">
        <p:scale>
          <a:sx n="110" d="100"/>
          <a:sy n="110" d="100"/>
        </p:scale>
        <p:origin x="160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32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7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rnejo, Jesus" userId="d4e69922-86c5-4092-b876-a67d6d89bb9b" providerId="ADAL" clId="{6635ACF4-8BE7-4227-BC0C-AADC7B51CDA9}"/>
    <pc:docChg chg="custSel modSld">
      <pc:chgData name="Cornejo, Jesus" userId="d4e69922-86c5-4092-b876-a67d6d89bb9b" providerId="ADAL" clId="{6635ACF4-8BE7-4227-BC0C-AADC7B51CDA9}" dt="2023-08-09T20:01:59.808" v="19" actId="123"/>
      <pc:docMkLst>
        <pc:docMk/>
      </pc:docMkLst>
      <pc:sldChg chg="modSp mod">
        <pc:chgData name="Cornejo, Jesus" userId="d4e69922-86c5-4092-b876-a67d6d89bb9b" providerId="ADAL" clId="{6635ACF4-8BE7-4227-BC0C-AADC7B51CDA9}" dt="2023-08-09T20:01:43.282" v="16" actId="123"/>
        <pc:sldMkLst>
          <pc:docMk/>
          <pc:sldMk cId="1013468824" sldId="328"/>
        </pc:sldMkLst>
        <pc:spChg chg="mod">
          <ac:chgData name="Cornejo, Jesus" userId="d4e69922-86c5-4092-b876-a67d6d89bb9b" providerId="ADAL" clId="{6635ACF4-8BE7-4227-BC0C-AADC7B51CDA9}" dt="2023-08-09T20:01:43.282" v="16" actId="123"/>
          <ac:spMkLst>
            <pc:docMk/>
            <pc:sldMk cId="1013468824" sldId="328"/>
            <ac:spMk id="2" creationId="{F332B896-23B8-5048-69AA-D5D6E78D7610}"/>
          </ac:spMkLst>
        </pc:spChg>
      </pc:sldChg>
      <pc:sldChg chg="modSp mod">
        <pc:chgData name="Cornejo, Jesus" userId="d4e69922-86c5-4092-b876-a67d6d89bb9b" providerId="ADAL" clId="{6635ACF4-8BE7-4227-BC0C-AADC7B51CDA9}" dt="2023-08-09T20:01:49.077" v="17" actId="122"/>
        <pc:sldMkLst>
          <pc:docMk/>
          <pc:sldMk cId="2519532422" sldId="2147471064"/>
        </pc:sldMkLst>
        <pc:spChg chg="mod">
          <ac:chgData name="Cornejo, Jesus" userId="d4e69922-86c5-4092-b876-a67d6d89bb9b" providerId="ADAL" clId="{6635ACF4-8BE7-4227-BC0C-AADC7B51CDA9}" dt="2023-08-09T20:01:49.077" v="17" actId="122"/>
          <ac:spMkLst>
            <pc:docMk/>
            <pc:sldMk cId="2519532422" sldId="2147471064"/>
            <ac:spMk id="8" creationId="{B5E6C40E-CDBD-8EFB-71E3-8B5F759437F5}"/>
          </ac:spMkLst>
        </pc:spChg>
      </pc:sldChg>
      <pc:sldChg chg="modSp mod">
        <pc:chgData name="Cornejo, Jesus" userId="d4e69922-86c5-4092-b876-a67d6d89bb9b" providerId="ADAL" clId="{6635ACF4-8BE7-4227-BC0C-AADC7B51CDA9}" dt="2023-08-09T20:01:54.031" v="18" actId="123"/>
        <pc:sldMkLst>
          <pc:docMk/>
          <pc:sldMk cId="950185925" sldId="2147471065"/>
        </pc:sldMkLst>
        <pc:spChg chg="mod">
          <ac:chgData name="Cornejo, Jesus" userId="d4e69922-86c5-4092-b876-a67d6d89bb9b" providerId="ADAL" clId="{6635ACF4-8BE7-4227-BC0C-AADC7B51CDA9}" dt="2023-08-09T20:01:54.031" v="18" actId="123"/>
          <ac:spMkLst>
            <pc:docMk/>
            <pc:sldMk cId="950185925" sldId="2147471065"/>
            <ac:spMk id="8" creationId="{B5E6C40E-CDBD-8EFB-71E3-8B5F759437F5}"/>
          </ac:spMkLst>
        </pc:spChg>
      </pc:sldChg>
      <pc:sldChg chg="modSp mod">
        <pc:chgData name="Cornejo, Jesus" userId="d4e69922-86c5-4092-b876-a67d6d89bb9b" providerId="ADAL" clId="{6635ACF4-8BE7-4227-BC0C-AADC7B51CDA9}" dt="2023-08-09T19:02:01.553" v="7" actId="33524"/>
        <pc:sldMkLst>
          <pc:docMk/>
          <pc:sldMk cId="2555794784" sldId="2147471066"/>
        </pc:sldMkLst>
        <pc:spChg chg="mod">
          <ac:chgData name="Cornejo, Jesus" userId="d4e69922-86c5-4092-b876-a67d6d89bb9b" providerId="ADAL" clId="{6635ACF4-8BE7-4227-BC0C-AADC7B51CDA9}" dt="2023-08-09T19:02:01.553" v="7" actId="33524"/>
          <ac:spMkLst>
            <pc:docMk/>
            <pc:sldMk cId="2555794784" sldId="2147471066"/>
            <ac:spMk id="8" creationId="{B5E6C40E-CDBD-8EFB-71E3-8B5F759437F5}"/>
          </ac:spMkLst>
        </pc:spChg>
      </pc:sldChg>
      <pc:sldChg chg="modSp mod">
        <pc:chgData name="Cornejo, Jesus" userId="d4e69922-86c5-4092-b876-a67d6d89bb9b" providerId="ADAL" clId="{6635ACF4-8BE7-4227-BC0C-AADC7B51CDA9}" dt="2023-08-09T20:01:59.808" v="19" actId="123"/>
        <pc:sldMkLst>
          <pc:docMk/>
          <pc:sldMk cId="956637911" sldId="2147471067"/>
        </pc:sldMkLst>
        <pc:spChg chg="mod">
          <ac:chgData name="Cornejo, Jesus" userId="d4e69922-86c5-4092-b876-a67d6d89bb9b" providerId="ADAL" clId="{6635ACF4-8BE7-4227-BC0C-AADC7B51CDA9}" dt="2023-08-09T20:01:59.808" v="19" actId="123"/>
          <ac:spMkLst>
            <pc:docMk/>
            <pc:sldMk cId="956637911" sldId="2147471067"/>
            <ac:spMk id="8" creationId="{B5E6C40E-CDBD-8EFB-71E3-8B5F759437F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CF1177-3537-EC4A-99B6-2BB7C50E04D3}" type="datetimeFigureOut">
              <a:rPr lang="en-US" smtClean="0"/>
              <a:t>8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BC0BE-BD63-D74C-8287-87DF57CB3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013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BC0BE-BD63-D74C-8287-87DF57CB377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140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0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FD47B-E72F-AD4B-9CDC-33942DD7E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1708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FD47B-E72F-AD4B-9CDC-33942DD7E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C60466E4-0634-4E4E-B45E-F6B6141E3273}"/>
              </a:ext>
            </a:extLst>
          </p:cNvPr>
          <p:cNvGrpSpPr/>
          <p:nvPr/>
        </p:nvGrpSpPr>
        <p:grpSpPr>
          <a:xfrm>
            <a:off x="5045075" y="-1826"/>
            <a:ext cx="4098925" cy="6859826"/>
            <a:chOff x="5045075" y="-1826"/>
            <a:chExt cx="4098925" cy="6859826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8BB0D8A-5646-C14A-8859-7A7E859CF23C}"/>
                </a:ext>
              </a:extLst>
            </p:cNvPr>
            <p:cNvSpPr/>
            <p:nvPr/>
          </p:nvSpPr>
          <p:spPr>
            <a:xfrm>
              <a:off x="5045075" y="-1826"/>
              <a:ext cx="4098290" cy="6859826"/>
            </a:xfrm>
            <a:custGeom>
              <a:avLst/>
              <a:gdLst>
                <a:gd name="connsiteX0" fmla="*/ 4094568 w 4094695"/>
                <a:gd name="connsiteY0" fmla="*/ 0 h 6853808"/>
                <a:gd name="connsiteX1" fmla="*/ 3623250 w 4094695"/>
                <a:gd name="connsiteY1" fmla="*/ 0 h 6853808"/>
                <a:gd name="connsiteX2" fmla="*/ 0 w 4094695"/>
                <a:gd name="connsiteY2" fmla="*/ 6853682 h 6853808"/>
                <a:gd name="connsiteX3" fmla="*/ 98197 w 4094695"/>
                <a:gd name="connsiteY3" fmla="*/ 6853809 h 6853808"/>
                <a:gd name="connsiteX4" fmla="*/ 1363714 w 4094695"/>
                <a:gd name="connsiteY4" fmla="*/ 6853809 h 6853808"/>
                <a:gd name="connsiteX5" fmla="*/ 4094695 w 4094695"/>
                <a:gd name="connsiteY5" fmla="*/ 1685798 h 6853808"/>
                <a:gd name="connsiteX6" fmla="*/ 4094568 w 4094695"/>
                <a:gd name="connsiteY6" fmla="*/ 0 h 6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4695" h="6853808">
                  <a:moveTo>
                    <a:pt x="4094568" y="0"/>
                  </a:moveTo>
                  <a:lnTo>
                    <a:pt x="3623250" y="0"/>
                  </a:lnTo>
                  <a:lnTo>
                    <a:pt x="0" y="6853682"/>
                  </a:lnTo>
                  <a:lnTo>
                    <a:pt x="98197" y="6853809"/>
                  </a:lnTo>
                  <a:lnTo>
                    <a:pt x="1363714" y="6853809"/>
                  </a:lnTo>
                  <a:lnTo>
                    <a:pt x="4094695" y="1685798"/>
                  </a:lnTo>
                  <a:lnTo>
                    <a:pt x="4094568" y="0"/>
                  </a:lnTo>
                  <a:close/>
                </a:path>
              </a:pathLst>
            </a:custGeom>
            <a:solidFill>
              <a:schemeClr val="bg2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7B57EE-ABB5-3445-8C44-F0371C6D39E0}"/>
                </a:ext>
              </a:extLst>
            </p:cNvPr>
            <p:cNvSpPr/>
            <p:nvPr/>
          </p:nvSpPr>
          <p:spPr>
            <a:xfrm>
              <a:off x="6019776" y="947189"/>
              <a:ext cx="3123589" cy="5910811"/>
            </a:xfrm>
            <a:custGeom>
              <a:avLst/>
              <a:gdLst>
                <a:gd name="connsiteX0" fmla="*/ 3120849 w 3120849"/>
                <a:gd name="connsiteY0" fmla="*/ 0 h 5905626"/>
                <a:gd name="connsiteX1" fmla="*/ 0 w 3120849"/>
                <a:gd name="connsiteY1" fmla="*/ 5905627 h 5905626"/>
                <a:gd name="connsiteX2" fmla="*/ 389868 w 3120849"/>
                <a:gd name="connsiteY2" fmla="*/ 5905627 h 5905626"/>
                <a:gd name="connsiteX3" fmla="*/ 3120849 w 3120849"/>
                <a:gd name="connsiteY3" fmla="*/ 737616 h 5905626"/>
                <a:gd name="connsiteX4" fmla="*/ 3120849 w 3120849"/>
                <a:gd name="connsiteY4" fmla="*/ 0 h 590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0849" h="5905626">
                  <a:moveTo>
                    <a:pt x="3120849" y="0"/>
                  </a:moveTo>
                  <a:lnTo>
                    <a:pt x="0" y="5905627"/>
                  </a:lnTo>
                  <a:lnTo>
                    <a:pt x="389868" y="5905627"/>
                  </a:lnTo>
                  <a:lnTo>
                    <a:pt x="3120849" y="737616"/>
                  </a:lnTo>
                  <a:lnTo>
                    <a:pt x="312084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/>
                </a:gs>
                <a:gs pos="73000">
                  <a:schemeClr val="tx2"/>
                </a:gs>
              </a:gsLst>
              <a:lin ang="0" scaled="1"/>
              <a:tileRect/>
            </a:gra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F1D8695-3FCB-294B-904E-6520A1233C70}"/>
                </a:ext>
              </a:extLst>
            </p:cNvPr>
            <p:cNvSpPr/>
            <p:nvPr/>
          </p:nvSpPr>
          <p:spPr>
            <a:xfrm>
              <a:off x="6408767" y="1679331"/>
              <a:ext cx="2735233" cy="5178669"/>
            </a:xfrm>
            <a:custGeom>
              <a:avLst/>
              <a:gdLst>
                <a:gd name="connsiteX0" fmla="*/ 2731615 w 2731615"/>
                <a:gd name="connsiteY0" fmla="*/ 5171821 h 5171820"/>
                <a:gd name="connsiteX1" fmla="*/ 2730981 w 2731615"/>
                <a:gd name="connsiteY1" fmla="*/ 0 h 5171820"/>
                <a:gd name="connsiteX2" fmla="*/ 2730981 w 2731615"/>
                <a:gd name="connsiteY2" fmla="*/ 0 h 5171820"/>
                <a:gd name="connsiteX3" fmla="*/ 2730981 w 2731615"/>
                <a:gd name="connsiteY3" fmla="*/ 3810 h 5171820"/>
                <a:gd name="connsiteX4" fmla="*/ 0 w 2731615"/>
                <a:gd name="connsiteY4" fmla="*/ 5171821 h 5171820"/>
                <a:gd name="connsiteX5" fmla="*/ 2731615 w 2731615"/>
                <a:gd name="connsiteY5" fmla="*/ 5171821 h 517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31615" h="5171820">
                  <a:moveTo>
                    <a:pt x="2731615" y="5171821"/>
                  </a:moveTo>
                  <a:lnTo>
                    <a:pt x="2730981" y="0"/>
                  </a:lnTo>
                  <a:lnTo>
                    <a:pt x="2730981" y="0"/>
                  </a:lnTo>
                  <a:lnTo>
                    <a:pt x="2730981" y="3810"/>
                  </a:lnTo>
                  <a:lnTo>
                    <a:pt x="0" y="5171821"/>
                  </a:lnTo>
                  <a:lnTo>
                    <a:pt x="2731615" y="5171821"/>
                  </a:lnTo>
                  <a:close/>
                </a:path>
              </a:pathLst>
            </a:custGeom>
            <a:solidFill>
              <a:schemeClr val="tx2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1144588"/>
            <a:ext cx="6499226" cy="1636776"/>
          </a:xfrm>
          <a:prstGeom prst="rect">
            <a:avLst/>
          </a:prstGeom>
        </p:spPr>
        <p:txBody>
          <a:bodyPr vert="horz" rIns="0" anchor="b" anchorCtr="0">
            <a:no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0553CE8-3D59-DE47-9987-E948068F0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1949" y="3090672"/>
            <a:ext cx="4800601" cy="2003668"/>
          </a:xfr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2600" b="1" cap="none" baseline="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1D70D93-F45D-964B-AD22-3E764CA877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1950" y="5754052"/>
            <a:ext cx="2657476" cy="369888"/>
          </a:xfrm>
        </p:spPr>
        <p:txBody>
          <a:bodyPr anchor="b">
            <a:no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70DABF-9AF0-EF4E-857B-27F72B034F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83787" y="6277879"/>
            <a:ext cx="1549660" cy="316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74204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9120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4850" y="1506539"/>
            <a:ext cx="4579882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DIVID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4850" y="4094922"/>
            <a:ext cx="4579882" cy="1988378"/>
          </a:xfrm>
        </p:spPr>
        <p:txBody>
          <a:bodyPr>
            <a:normAutofit/>
          </a:bodyPr>
          <a:lstStyle>
            <a:lvl1pPr marL="0" indent="0">
              <a:spcAft>
                <a:spcPts val="1200"/>
              </a:spcAft>
              <a:buFont typeface="Wingdings" pitchFamily="2" charset="2"/>
              <a:buNone/>
              <a:defRPr sz="26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12FB25DE-FD3B-3C42-8EC5-7D7F39403106}"/>
              </a:ext>
            </a:extLst>
          </p:cNvPr>
          <p:cNvSpPr/>
          <p:nvPr/>
        </p:nvSpPr>
        <p:spPr>
          <a:xfrm>
            <a:off x="0" y="382"/>
            <a:ext cx="3994269" cy="6876288"/>
          </a:xfrm>
          <a:custGeom>
            <a:avLst/>
            <a:gdLst>
              <a:gd name="connsiteX0" fmla="*/ 364305 w 3994269"/>
              <a:gd name="connsiteY0" fmla="*/ 6876289 h 6876288"/>
              <a:gd name="connsiteX1" fmla="*/ 0 w 3994269"/>
              <a:gd name="connsiteY1" fmla="*/ 6876289 h 6876288"/>
              <a:gd name="connsiteX2" fmla="*/ 0 w 3994269"/>
              <a:gd name="connsiteY2" fmla="*/ 0 h 6876288"/>
              <a:gd name="connsiteX3" fmla="*/ 3994269 w 3994269"/>
              <a:gd name="connsiteY3" fmla="*/ 0 h 6876288"/>
              <a:gd name="connsiteX4" fmla="*/ 364305 w 3994269"/>
              <a:gd name="connsiteY4" fmla="*/ 6876289 h 6876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4269" h="6876288">
                <a:moveTo>
                  <a:pt x="364305" y="6876289"/>
                </a:moveTo>
                <a:lnTo>
                  <a:pt x="0" y="6876289"/>
                </a:lnTo>
                <a:lnTo>
                  <a:pt x="0" y="0"/>
                </a:lnTo>
                <a:lnTo>
                  <a:pt x="3994269" y="0"/>
                </a:lnTo>
                <a:lnTo>
                  <a:pt x="364305" y="6876289"/>
                </a:lnTo>
                <a:close/>
              </a:path>
            </a:pathLst>
          </a:custGeom>
          <a:solidFill>
            <a:schemeClr val="bg2"/>
          </a:soli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C163336-5350-5344-ACF5-1D22EE37D361}"/>
              </a:ext>
            </a:extLst>
          </p:cNvPr>
          <p:cNvSpPr/>
          <p:nvPr/>
        </p:nvSpPr>
        <p:spPr>
          <a:xfrm>
            <a:off x="0" y="0"/>
            <a:ext cx="3995667" cy="6876670"/>
          </a:xfrm>
          <a:custGeom>
            <a:avLst/>
            <a:gdLst>
              <a:gd name="connsiteX0" fmla="*/ 365957 w 3995667"/>
              <a:gd name="connsiteY0" fmla="*/ 6876288 h 6876670"/>
              <a:gd name="connsiteX1" fmla="*/ 0 w 3995667"/>
              <a:gd name="connsiteY1" fmla="*/ 6876671 h 6876670"/>
              <a:gd name="connsiteX2" fmla="*/ 0 w 3995667"/>
              <a:gd name="connsiteY2" fmla="*/ 6695722 h 6876670"/>
              <a:gd name="connsiteX3" fmla="*/ 3534409 w 3995667"/>
              <a:gd name="connsiteY3" fmla="*/ 0 h 6876670"/>
              <a:gd name="connsiteX4" fmla="*/ 3995667 w 3995667"/>
              <a:gd name="connsiteY4" fmla="*/ 0 h 6876670"/>
              <a:gd name="connsiteX5" fmla="*/ 365957 w 3995667"/>
              <a:gd name="connsiteY5" fmla="*/ 6876288 h 6876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667" h="6876670">
                <a:moveTo>
                  <a:pt x="365957" y="6876288"/>
                </a:moveTo>
                <a:lnTo>
                  <a:pt x="0" y="6876671"/>
                </a:lnTo>
                <a:lnTo>
                  <a:pt x="0" y="6695722"/>
                </a:lnTo>
                <a:lnTo>
                  <a:pt x="3534409" y="0"/>
                </a:lnTo>
                <a:lnTo>
                  <a:pt x="3995667" y="0"/>
                </a:lnTo>
                <a:lnTo>
                  <a:pt x="365957" y="6876288"/>
                </a:lnTo>
                <a:close/>
              </a:path>
            </a:pathLst>
          </a:custGeom>
          <a:gradFill>
            <a:gsLst>
              <a:gs pos="32000">
                <a:schemeClr val="tx2"/>
              </a:gs>
              <a:gs pos="100000">
                <a:schemeClr val="bg2"/>
              </a:gs>
            </a:gsLst>
            <a:lin ang="0" scaled="1"/>
          </a:gra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2807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1437E-F5BA-D941-A988-D166FC8336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656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E1437E-F5BA-D941-A988-D166FC833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4CCDAC1-FF0C-6C45-9EFE-16B81E076C06}"/>
              </a:ext>
            </a:extLst>
          </p:cNvPr>
          <p:cNvSpPr txBox="1"/>
          <p:nvPr/>
        </p:nvSpPr>
        <p:spPr>
          <a:xfrm>
            <a:off x="8282970" y="2490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4F861AD-B738-204D-962D-1D7949B97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47" y="548641"/>
            <a:ext cx="2479786" cy="903641"/>
          </a:xfrm>
          <a:prstGeom prst="rect">
            <a:avLst/>
          </a:prstGeom>
        </p:spPr>
        <p:txBody>
          <a:bodyPr vert="horz" rIns="0" anchor="t"/>
          <a:lstStyle>
            <a:lvl1pPr>
              <a:defRPr/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2AA18E7-3E59-E04F-9A43-A926ED4D6E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4480" y="1737360"/>
            <a:ext cx="7171764" cy="4491322"/>
          </a:xfrm>
        </p:spPr>
        <p:txBody>
          <a:bodyPr tIns="36576"/>
          <a:lstStyle>
            <a:lvl1pPr marL="287338" indent="-285750">
              <a:spcBef>
                <a:spcPts val="24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  <a:p>
            <a:pPr lvl="0"/>
            <a:r>
              <a:rPr lang="en-US" dirty="0"/>
              <a:t>Category 2</a:t>
            </a:r>
          </a:p>
          <a:p>
            <a:pPr lvl="0"/>
            <a:r>
              <a:rPr lang="en-US" dirty="0"/>
              <a:t>Category 3</a:t>
            </a:r>
          </a:p>
          <a:p>
            <a:pPr lvl="0"/>
            <a:r>
              <a:rPr lang="en-US" dirty="0"/>
              <a:t>Category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85602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no blue sentenc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821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6E9E4A80-3BA3-124D-9B24-F7CF47D2D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9D7253-F336-40C3-B8DB-BC4E7A515F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2" y="1100531"/>
            <a:ext cx="8408988" cy="4617720"/>
          </a:xfrm>
        </p:spPr>
        <p:txBody>
          <a:bodyPr/>
          <a:lstStyle>
            <a:lvl1pPr>
              <a:spcAft>
                <a:spcPts val="12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/>
            </a:lvl2pPr>
            <a:lvl3pPr>
              <a:spcAft>
                <a:spcPts val="1200"/>
              </a:spcAft>
              <a:defRPr sz="14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73E8450-28A8-A6F0-3571-A948467527A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153351107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2FBDF-60EE-4F38-9C0E-EFBFE5163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15320F-233F-4CC6-A659-B7FE345F71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1099645"/>
            <a:ext cx="8416925" cy="4803775"/>
          </a:xfrm>
        </p:spPr>
        <p:txBody>
          <a:bodyPr/>
          <a:lstStyle>
            <a:lvl1pPr>
              <a:spcAft>
                <a:spcPts val="12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/>
            </a:lvl2pPr>
            <a:lvl3pPr>
              <a:spcAft>
                <a:spcPts val="1200"/>
              </a:spcAft>
              <a:defRPr sz="14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8657E99-CA71-137D-BE32-DFB3CA17589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72976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233783323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able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91297C-47CA-8B4D-B06A-2DE4B0146D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320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91297C-47CA-8B4D-B06A-2DE4B014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DEE1D3EF-21D3-8E4C-8052-572CFF7B0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8CCF4543-F20D-4289-B731-65995A92BB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1951" y="1279525"/>
            <a:ext cx="8420100" cy="4798700"/>
          </a:xfrm>
          <a:solidFill>
            <a:schemeClr val="bg1">
              <a:lumMod val="95000"/>
            </a:schemeClr>
          </a:solidFill>
        </p:spPr>
        <p:txBody>
          <a:bodyPr tIns="2103120">
            <a:normAutofit/>
          </a:bodyPr>
          <a:lstStyle>
            <a:lvl1pPr marL="0" indent="0" algn="ctr">
              <a:buFontTx/>
              <a:buNone/>
              <a:defRPr sz="14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ACC8123-BA22-9643-D59F-B3F9D20672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72976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164581433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col_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C56AD6-A785-F842-AF16-A21371D70C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188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C56AD6-A785-F842-AF16-A21371D70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5DA323-46E6-1E42-AC5C-E9BB1B51EF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1949" y="1279524"/>
            <a:ext cx="4095751" cy="4803775"/>
          </a:xfrm>
        </p:spPr>
        <p:txBody>
          <a:bodyPr/>
          <a:lstStyle>
            <a:lvl1pPr algn="ctr">
              <a:spcAft>
                <a:spcPts val="1200"/>
              </a:spcAft>
              <a:defRPr sz="1400" b="1">
                <a:solidFill>
                  <a:schemeClr val="accent1"/>
                </a:solidFill>
              </a:defRPr>
            </a:lvl1pPr>
            <a:lvl2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/>
              <a:t>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30F6BA5-EA57-E946-AD46-4D917734108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96557" y="1279524"/>
            <a:ext cx="4095751" cy="4803775"/>
          </a:xfrm>
        </p:spPr>
        <p:txBody>
          <a:bodyPr/>
          <a:lstStyle>
            <a:lvl1pPr algn="ctr">
              <a:spcAft>
                <a:spcPts val="1200"/>
              </a:spcAft>
              <a:defRPr sz="1400" b="1">
                <a:solidFill>
                  <a:schemeClr val="accent1"/>
                </a:solidFill>
              </a:defRPr>
            </a:lvl1pPr>
            <a:lvl2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/>
              <a:t>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4183A4-9BC9-B440-A466-7460086A984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CB21B4-6598-7445-9D7D-D948E4EB2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531873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kicker add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40210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A0E647-19F7-834D-A0E9-4153DC14A0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1950" y="1279525"/>
            <a:ext cx="8412478" cy="4108021"/>
          </a:xfr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75F700-6504-F944-AD68-B683E4A775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5486400"/>
            <a:ext cx="8412163" cy="433570"/>
          </a:xfrm>
        </p:spPr>
        <p:txBody>
          <a:bodyPr/>
          <a:lstStyle>
            <a:lvl1pPr algn="ctr">
              <a:defRPr sz="1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b="1" dirty="0">
                <a:solidFill>
                  <a:schemeClr val="accent2"/>
                </a:solidFill>
                <a:cs typeface="Calibri Light" panose="020F0302020204030204" pitchFamily="34" charset="0"/>
              </a:rPr>
              <a:t>Example Kicker Text That Can Extend to Two Lines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537FD7-BF03-BF4C-8CC9-98D7A0206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64E2B34-8BA2-6DEC-37DF-AD2AAC8AC02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324642613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col_3_vert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1E8F07-1397-E84F-96B8-1F0F67159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69111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1E8F07-1397-E84F-96B8-1F0F67159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F112554-4362-224B-B75E-C517E2D83B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1948" y="1506538"/>
            <a:ext cx="1970167" cy="4138888"/>
          </a:xfr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CD1FFB24-C279-7140-86E7-BB93CCB344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20075" y="1506538"/>
            <a:ext cx="2037625" cy="2011914"/>
          </a:xfr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826C3B5-9557-EB45-A8B2-2882FD38FB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420075" y="3633512"/>
            <a:ext cx="2037625" cy="2011914"/>
          </a:xfr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D29A4D9-1B90-674F-84F2-ED4285F692E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5AEAAEA-BFFB-ED47-8A98-AAB442C646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93158" y="1506538"/>
            <a:ext cx="4081270" cy="4138888"/>
          </a:xfrm>
        </p:spPr>
        <p:txBody>
          <a:bodyPr/>
          <a:lstStyle>
            <a:lvl1pPr algn="ctr">
              <a:spcAft>
                <a:spcPts val="1200"/>
              </a:spcAft>
              <a:defRPr sz="1400" b="1">
                <a:solidFill>
                  <a:schemeClr val="accent1"/>
                </a:solidFill>
              </a:defRPr>
            </a:lvl1pPr>
            <a:lvl2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/>
              <a:t>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64334B86-5A36-974B-921E-E30A25095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84601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95FFDB78-D751-1D41-BF27-069C6F13F357}"/>
              </a:ext>
            </a:extLst>
          </p:cNvPr>
          <p:cNvSpPr/>
          <p:nvPr userDrawn="1"/>
        </p:nvSpPr>
        <p:spPr bwMode="auto">
          <a:xfrm rot="5400000">
            <a:off x="-419100" y="419100"/>
            <a:ext cx="1783080" cy="944880"/>
          </a:xfrm>
          <a:prstGeom prst="rtTriangle">
            <a:avLst/>
          </a:prstGeom>
          <a:gradFill>
            <a:gsLst>
              <a:gs pos="0">
                <a:srgbClr val="FAFDFD"/>
              </a:gs>
              <a:gs pos="90000">
                <a:srgbClr val="E4F1FA"/>
              </a:gs>
            </a:gsLst>
            <a:lin ang="5400000" scaled="1"/>
          </a:gradFill>
          <a:ln>
            <a:noFill/>
          </a:ln>
        </p:spPr>
        <p:txBody>
          <a:bodyPr wrap="none" lIns="82058" tIns="41029" rIns="82058" bIns="41029" rtlCol="0" anchor="ctr"/>
          <a:lstStyle/>
          <a:p>
            <a:pPr algn="ctr" defTabSz="914382"/>
            <a:endParaRPr lang="en-US" sz="14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049AC0-7554-9E4A-B393-600D29FC20DC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645982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049AC0-7554-9E4A-B393-600D29FC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950" y="1280160"/>
            <a:ext cx="8412478" cy="480314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2</a:t>
            </a:r>
          </a:p>
          <a:p>
            <a:pPr lvl="2"/>
            <a:r>
              <a:rPr lang="en-US" dirty="0"/>
              <a:t>3</a:t>
            </a:r>
          </a:p>
          <a:p>
            <a:pPr lvl="3"/>
            <a:r>
              <a:rPr lang="en-US" dirty="0"/>
              <a:t>4</a:t>
            </a:r>
          </a:p>
          <a:p>
            <a:pPr lvl="4"/>
            <a:r>
              <a:rPr lang="en-US" dirty="0"/>
              <a:t>5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93A2EAE6-BC06-5940-ADB7-0663E113C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457200"/>
            <a:ext cx="7640956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044D4A2-95D9-8C44-926F-111FF0B1F399}"/>
              </a:ext>
            </a:extLst>
          </p:cNvPr>
          <p:cNvSpPr txBox="1"/>
          <p:nvPr/>
        </p:nvSpPr>
        <p:spPr>
          <a:xfrm>
            <a:off x="8386395" y="6617517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3CA0CAE-2EF4-E543-8AA5-430881C69B11}" type="slidenum">
              <a:rPr lang="en-US" sz="9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‹#›</a:t>
            </a:fld>
            <a:endParaRPr lang="en-US" sz="105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6A0DC99-08CF-F942-BF87-5CD4CBBAFF5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017678" y="6434409"/>
            <a:ext cx="954404" cy="23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1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5" r:id="rId2"/>
    <p:sldLayoutId id="2147483687" r:id="rId3"/>
    <p:sldLayoutId id="2147483703" r:id="rId4"/>
    <p:sldLayoutId id="2147483704" r:id="rId5"/>
    <p:sldLayoutId id="2147483692" r:id="rId6"/>
    <p:sldLayoutId id="2147483691" r:id="rId7"/>
    <p:sldLayoutId id="2147483689" r:id="rId8"/>
    <p:sldLayoutId id="2147483695" r:id="rId9"/>
  </p:sldLayoutIdLst>
  <p:transition/>
  <p:txStyles>
    <p:titleStyle>
      <a:lvl1pPr algn="l" defTabSz="457155" rtl="0" eaLnBrk="1" latinLnBrk="0" hangingPunct="1">
        <a:lnSpc>
          <a:spcPct val="100000"/>
        </a:lnSpc>
        <a:spcBef>
          <a:spcPct val="0"/>
        </a:spcBef>
        <a:buNone/>
        <a:defRPr sz="2800" b="0" i="0" kern="1200" cap="all" baseline="0">
          <a:solidFill>
            <a:schemeClr val="tx2"/>
          </a:solidFill>
          <a:latin typeface="+mj-lt"/>
          <a:ea typeface="+mj-ea"/>
          <a:cs typeface="Calibri Light"/>
        </a:defRPr>
      </a:lvl1pPr>
    </p:titleStyle>
    <p:bodyStyle>
      <a:lvl1pPr marL="1588" indent="0" algn="l" defTabSz="457155" rtl="0" eaLnBrk="1" latinLnBrk="0" hangingPunct="1">
        <a:spcBef>
          <a:spcPts val="0"/>
        </a:spcBef>
        <a:spcAft>
          <a:spcPts val="0"/>
        </a:spcAft>
        <a:buClr>
          <a:schemeClr val="accent2"/>
        </a:buClr>
        <a:buSzPct val="120000"/>
        <a:buFont typeface="Wingdings" pitchFamily="2" charset="2"/>
        <a:buNone/>
        <a:tabLst/>
        <a:defRPr sz="1400" b="1" i="0" kern="1200">
          <a:solidFill>
            <a:srgbClr val="001C71"/>
          </a:solidFill>
          <a:latin typeface="+mn-lt"/>
          <a:ea typeface="+mn-ea"/>
          <a:cs typeface="Calibri Light"/>
        </a:defRPr>
      </a:lvl1pPr>
      <a:lvl2pPr marL="7938" indent="0" algn="l" defTabSz="457155" rtl="0" eaLnBrk="1" latinLnBrk="0" hangingPunct="1">
        <a:spcBef>
          <a:spcPts val="0"/>
        </a:spcBef>
        <a:spcAft>
          <a:spcPts val="0"/>
        </a:spcAft>
        <a:buClr>
          <a:schemeClr val="accent2"/>
        </a:buClr>
        <a:buSzPct val="120000"/>
        <a:buFont typeface="Arial" panose="020B0604020202020204" pitchFamily="34" charset="0"/>
        <a:buNone/>
        <a:tabLst/>
        <a:defRPr sz="1400" b="0" i="0" kern="1200">
          <a:solidFill>
            <a:schemeClr val="tx1"/>
          </a:solidFill>
          <a:latin typeface="+mn-lt"/>
          <a:ea typeface="+mn-ea"/>
          <a:cs typeface="Calibri Light"/>
        </a:defRPr>
      </a:lvl2pPr>
      <a:lvl3pPr marL="349250" indent="-227013" algn="l" defTabSz="457155" rtl="0" eaLnBrk="1" latinLnBrk="0" hangingPunct="1">
        <a:spcBef>
          <a:spcPts val="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+mn-lt"/>
          <a:ea typeface="+mn-ea"/>
          <a:cs typeface="Calibri Light"/>
        </a:defRPr>
      </a:lvl3pPr>
      <a:lvl4pPr marL="690563" indent="-227013" algn="l" defTabSz="498429" rtl="0" eaLnBrk="1" latinLnBrk="0" hangingPunct="1">
        <a:spcBef>
          <a:spcPts val="0"/>
        </a:spcBef>
        <a:spcAft>
          <a:spcPts val="0"/>
        </a:spcAft>
        <a:buClr>
          <a:schemeClr val="bg2"/>
        </a:buClr>
        <a:buSzPct val="100000"/>
        <a:buFont typeface="Wingdings" panose="05000000000000000000" pitchFamily="2" charset="2"/>
        <a:buChar char="§"/>
        <a:tabLst/>
        <a:defRPr sz="1400" b="0" i="0" kern="1200">
          <a:solidFill>
            <a:schemeClr val="tx1"/>
          </a:solidFill>
          <a:latin typeface="+mn-lt"/>
          <a:ea typeface="+mn-ea"/>
          <a:cs typeface="Calibri Light"/>
        </a:defRPr>
      </a:lvl4pPr>
      <a:lvl5pPr marL="1033463" indent="-228600" algn="l" defTabSz="457155" rtl="0" eaLnBrk="1" latinLnBrk="0" hangingPunct="1">
        <a:spcBef>
          <a:spcPts val="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457172" indent="0" algn="l" defTabSz="457155" rtl="0" eaLnBrk="1" latinLnBrk="0" hangingPunct="1">
        <a:spcBef>
          <a:spcPts val="0"/>
        </a:spcBef>
        <a:buFont typeface="Wingdings" pitchFamily="2" charset="2"/>
        <a:buNone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6pPr>
      <a:lvl7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1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6">
          <p15:clr>
            <a:srgbClr val="F26B43"/>
          </p15:clr>
        </p15:guide>
        <p15:guide id="2" pos="2880">
          <p15:clr>
            <a:srgbClr val="F26B43"/>
          </p15:clr>
        </p15:guide>
        <p15:guide id="3" pos="228">
          <p15:clr>
            <a:srgbClr val="F26B43"/>
          </p15:clr>
        </p15:guide>
        <p15:guide id="4" pos="692">
          <p15:clr>
            <a:srgbClr val="F26B43"/>
          </p15:clr>
        </p15:guide>
        <p15:guide id="5" pos="836">
          <p15:clr>
            <a:srgbClr val="F26B43"/>
          </p15:clr>
        </p15:guide>
        <p15:guide id="6" pos="1294">
          <p15:clr>
            <a:srgbClr val="F26B43"/>
          </p15:clr>
        </p15:guide>
        <p15:guide id="7" pos="1442">
          <p15:clr>
            <a:srgbClr val="F26B43"/>
          </p15:clr>
        </p15:guide>
        <p15:guide id="8" pos="1902">
          <p15:clr>
            <a:srgbClr val="F26B43"/>
          </p15:clr>
        </p15:guide>
        <p15:guide id="9" pos="2044">
          <p15:clr>
            <a:srgbClr val="F26B43"/>
          </p15:clr>
        </p15:guide>
        <p15:guide id="10" pos="2506">
          <p15:clr>
            <a:srgbClr val="F26B43"/>
          </p15:clr>
        </p15:guide>
        <p15:guide id="11" pos="2648">
          <p15:clr>
            <a:srgbClr val="F26B43"/>
          </p15:clr>
        </p15:guide>
        <p15:guide id="12" pos="2808">
          <p15:clr>
            <a:srgbClr val="F26B43"/>
          </p15:clr>
        </p15:guide>
        <p15:guide id="13" pos="2952">
          <p15:clr>
            <a:srgbClr val="F26B43"/>
          </p15:clr>
        </p15:guide>
        <p15:guide id="14" pos="3110">
          <p15:clr>
            <a:srgbClr val="F26B43"/>
          </p15:clr>
        </p15:guide>
        <p15:guide id="15" pos="3252">
          <p15:clr>
            <a:srgbClr val="F26B43"/>
          </p15:clr>
        </p15:guide>
        <p15:guide id="16" pos="3716">
          <p15:clr>
            <a:srgbClr val="F26B43"/>
          </p15:clr>
        </p15:guide>
        <p15:guide id="17" pos="3860">
          <p15:clr>
            <a:srgbClr val="F26B43"/>
          </p15:clr>
        </p15:guide>
        <p15:guide id="18" pos="4322">
          <p15:clr>
            <a:srgbClr val="F26B43"/>
          </p15:clr>
        </p15:guide>
        <p15:guide id="19" pos="4464">
          <p15:clr>
            <a:srgbClr val="F26B43"/>
          </p15:clr>
        </p15:guide>
        <p15:guide id="20" pos="4926">
          <p15:clr>
            <a:srgbClr val="F26B43"/>
          </p15:clr>
        </p15:guide>
        <p15:guide id="21" pos="5066">
          <p15:clr>
            <a:srgbClr val="F26B43"/>
          </p15:clr>
        </p15:guide>
        <p15:guide id="23" pos="5532">
          <p15:clr>
            <a:srgbClr val="F26B43"/>
          </p15:clr>
        </p15:guide>
        <p15:guide id="24" orient="horz" pos="636">
          <p15:clr>
            <a:srgbClr val="F26B43"/>
          </p15:clr>
        </p15:guide>
        <p15:guide id="26" orient="horz" pos="806">
          <p15:clr>
            <a:srgbClr val="F26B43"/>
          </p15:clr>
        </p15:guide>
        <p15:guide id="28" orient="horz" pos="4234">
          <p15:clr>
            <a:srgbClr val="F26B43"/>
          </p15:clr>
        </p15:guide>
        <p15:guide id="29" orient="horz" pos="3832">
          <p15:clr>
            <a:srgbClr val="F26B43"/>
          </p15:clr>
        </p15:guide>
        <p15:guide id="30" orient="horz" pos="1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3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26.svg"/><Relationship Id="rId1" Type="http://schemas.openxmlformats.org/officeDocument/2006/relationships/tags" Target="../tags/tag13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svg"/><Relationship Id="rId4" Type="http://schemas.openxmlformats.org/officeDocument/2006/relationships/image" Target="../media/image13.emf"/><Relationship Id="rId9" Type="http://schemas.openxmlformats.org/officeDocument/2006/relationships/image" Target="../media/image19.png"/><Relationship Id="rId14" Type="http://schemas.openxmlformats.org/officeDocument/2006/relationships/image" Target="../media/image2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35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28.sv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svg"/><Relationship Id="rId4" Type="http://schemas.openxmlformats.org/officeDocument/2006/relationships/image" Target="../media/image13.emf"/><Relationship Id="rId9" Type="http://schemas.openxmlformats.org/officeDocument/2006/relationships/image" Target="../media/image31.png"/><Relationship Id="rId14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37.png"/><Relationship Id="rId5" Type="http://schemas.openxmlformats.org/officeDocument/2006/relationships/hyperlink" Target="mailto:seguridad_corporativa@sempraglobal.com.mx" TargetMode="Externa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E2EACE-B7D2-0C42-ADC3-A3E335ADE7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552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E2EACE-B7D2-0C42-ADC3-A3E335ADE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BADCD4F-791D-BC4A-83AC-BC14E2497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1144588"/>
            <a:ext cx="6669786" cy="2594493"/>
          </a:xfrm>
        </p:spPr>
        <p:txBody>
          <a:bodyPr/>
          <a:lstStyle/>
          <a:p>
            <a:r>
              <a:rPr lang="es-ES" b="1" cap="none" dirty="0"/>
              <a:t>Recomendaciones </a:t>
            </a:r>
            <a:br>
              <a:rPr lang="es-ES" b="1" cap="none" dirty="0"/>
            </a:br>
            <a:r>
              <a:rPr lang="es-ES" b="1" cap="none" dirty="0"/>
              <a:t>de seguridad </a:t>
            </a:r>
            <a:br>
              <a:rPr lang="es-ES" b="1" cap="none" dirty="0"/>
            </a:br>
            <a:r>
              <a:rPr lang="es-ES" b="1" cap="none" dirty="0"/>
              <a:t>en los hoteles</a:t>
            </a:r>
            <a:endParaRPr lang="en-US" b="1" cap="non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B1349F-11C2-4546-AAD1-94EA405E9C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gosto, 2023</a:t>
            </a:r>
          </a:p>
        </p:txBody>
      </p:sp>
    </p:spTree>
    <p:extLst>
      <p:ext uri="{BB962C8B-B14F-4D97-AF65-F5344CB8AC3E}">
        <p14:creationId xmlns:p14="http://schemas.microsoft.com/office/powerpoint/2010/main" val="291612406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39ECA6E-7A6A-AE40-AD52-544B950F7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cap="none" dirty="0"/>
              <a:t>Recomendaciones de seguridad en los hoteles</a:t>
            </a:r>
            <a:endParaRPr lang="en-US" b="1" cap="none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2" y="2317687"/>
            <a:ext cx="4389438" cy="3408058"/>
          </a:xfrm>
        </p:spPr>
        <p:txBody>
          <a:bodyPr/>
          <a:lstStyle/>
          <a:p>
            <a:pPr lvl="1" algn="just">
              <a:spcAft>
                <a:spcPts val="1200"/>
              </a:spcAft>
            </a:pPr>
            <a:r>
              <a:rPr lang="es-ES" sz="1600" dirty="0"/>
              <a:t>La seguridad en el sector Hotelero está siendo  vulnerada, ya que al interior los  delitos han incremento.</a:t>
            </a:r>
          </a:p>
          <a:p>
            <a:pPr lvl="1" algn="just">
              <a:spcAft>
                <a:spcPts val="1200"/>
              </a:spcAft>
            </a:pPr>
            <a:r>
              <a:rPr lang="es-ES" sz="1600" dirty="0"/>
              <a:t>Por lo cual se recomienda extremar precauciones y permanecer alerta ante cualquier persona o situación sospechosa, para evitar ser víctima de  robos, atracos o extorsiones al interior de los mismos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CAF585F-7B59-6706-3D2D-33A08F2D5D28}"/>
              </a:ext>
            </a:extLst>
          </p:cNvPr>
          <p:cNvGrpSpPr/>
          <p:nvPr/>
        </p:nvGrpSpPr>
        <p:grpSpPr>
          <a:xfrm>
            <a:off x="5296276" y="1559767"/>
            <a:ext cx="3327405" cy="4165978"/>
            <a:chOff x="5489400" y="1334103"/>
            <a:chExt cx="3464100" cy="4337123"/>
          </a:xfrm>
        </p:grpSpPr>
        <p:pic>
          <p:nvPicPr>
            <p:cNvPr id="4" name="Imagen 9">
              <a:extLst>
                <a:ext uri="{FF2B5EF4-FFF2-40B4-BE49-F238E27FC236}">
                  <a16:creationId xmlns:a16="http://schemas.microsoft.com/office/drawing/2014/main" id="{9DAC4C00-FA1E-86C9-C1C9-E8B427A8C8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48718" r="11347"/>
            <a:stretch/>
          </p:blipFill>
          <p:spPr>
            <a:xfrm>
              <a:off x="5489400" y="1334103"/>
              <a:ext cx="3464100" cy="4337123"/>
            </a:xfrm>
            <a:prstGeom prst="rect">
              <a:avLst/>
            </a:prstGeom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F8595CC-9CE4-B2F3-E9AF-E945DC2C5C0C}"/>
                </a:ext>
              </a:extLst>
            </p:cNvPr>
            <p:cNvSpPr/>
            <p:nvPr/>
          </p:nvSpPr>
          <p:spPr>
            <a:xfrm>
              <a:off x="8191295" y="1383347"/>
              <a:ext cx="743355" cy="436330"/>
            </a:xfrm>
            <a:prstGeom prst="ellipse">
              <a:avLst/>
            </a:prstGeom>
            <a:solidFill>
              <a:srgbClr val="C5C9CA"/>
            </a:solidFill>
            <a:ln>
              <a:solidFill>
                <a:srgbClr val="C9CA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</p:spTree>
    <p:extLst>
      <p:ext uri="{BB962C8B-B14F-4D97-AF65-F5344CB8AC3E}">
        <p14:creationId xmlns:p14="http://schemas.microsoft.com/office/powerpoint/2010/main" val="10134688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4">
            <a:extLst>
              <a:ext uri="{FF2B5EF4-FFF2-40B4-BE49-F238E27FC236}">
                <a16:creationId xmlns:a16="http://schemas.microsoft.com/office/drawing/2014/main" id="{5A3402A9-4EA9-2164-E685-42433CED7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381000"/>
            <a:ext cx="8412480" cy="536553"/>
          </a:xfrm>
        </p:spPr>
        <p:txBody>
          <a:bodyPr/>
          <a:lstStyle/>
          <a:p>
            <a:r>
              <a:rPr lang="es-ES" b="1" cap="none" dirty="0"/>
              <a:t>Recomendaciones de seguridad en los hoteles</a:t>
            </a:r>
            <a:endParaRPr lang="en-US" b="1" cap="none" dirty="0"/>
          </a:p>
        </p:txBody>
      </p:sp>
      <p:pic>
        <p:nvPicPr>
          <p:cNvPr id="7" name="Graphic 6" descr="Call center with solid fill">
            <a:extLst>
              <a:ext uri="{FF2B5EF4-FFF2-40B4-BE49-F238E27FC236}">
                <a16:creationId xmlns:a16="http://schemas.microsoft.com/office/drawing/2014/main" id="{FFE41EA3-430E-8DD1-0C28-B803911E89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4299" y="5571530"/>
            <a:ext cx="914400" cy="914400"/>
          </a:xfrm>
          <a:prstGeom prst="rect">
            <a:avLst/>
          </a:prstGeom>
        </p:spPr>
      </p:pic>
      <p:pic>
        <p:nvPicPr>
          <p:cNvPr id="10" name="Graphic 9" descr="Speaker phone with solid fill">
            <a:extLst>
              <a:ext uri="{FF2B5EF4-FFF2-40B4-BE49-F238E27FC236}">
                <a16:creationId xmlns:a16="http://schemas.microsoft.com/office/drawing/2014/main" id="{3CB3D49F-9198-5D21-F645-E47452D8A0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4299" y="1977361"/>
            <a:ext cx="914400" cy="914400"/>
          </a:xfrm>
          <a:prstGeom prst="rect">
            <a:avLst/>
          </a:prstGeom>
        </p:spPr>
      </p:pic>
      <p:pic>
        <p:nvPicPr>
          <p:cNvPr id="13" name="Graphic 12" descr="Man and woman with solid fill">
            <a:extLst>
              <a:ext uri="{FF2B5EF4-FFF2-40B4-BE49-F238E27FC236}">
                <a16:creationId xmlns:a16="http://schemas.microsoft.com/office/drawing/2014/main" id="{63637F65-6910-E2B8-1625-5D2A3E31BD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4299" y="4622552"/>
            <a:ext cx="914400" cy="914400"/>
          </a:xfrm>
          <a:prstGeom prst="rect">
            <a:avLst/>
          </a:prstGeom>
        </p:spPr>
      </p:pic>
      <p:pic>
        <p:nvPicPr>
          <p:cNvPr id="15" name="Graphic 14" descr="Eye with solid fill">
            <a:extLst>
              <a:ext uri="{FF2B5EF4-FFF2-40B4-BE49-F238E27FC236}">
                <a16:creationId xmlns:a16="http://schemas.microsoft.com/office/drawing/2014/main" id="{32C7AF76-89A9-9ABE-B87D-B9EC0109924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299" y="3808555"/>
            <a:ext cx="914400" cy="914400"/>
          </a:xfrm>
          <a:prstGeom prst="rect">
            <a:avLst/>
          </a:prstGeom>
        </p:spPr>
      </p:pic>
      <p:pic>
        <p:nvPicPr>
          <p:cNvPr id="17" name="Graphic 16" descr="Door Closed with solid fill">
            <a:extLst>
              <a:ext uri="{FF2B5EF4-FFF2-40B4-BE49-F238E27FC236}">
                <a16:creationId xmlns:a16="http://schemas.microsoft.com/office/drawing/2014/main" id="{A5EF161E-BDCA-1E3C-8669-BB0BC12F260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54299" y="2905658"/>
            <a:ext cx="914400" cy="914400"/>
          </a:xfrm>
          <a:prstGeom prst="rect">
            <a:avLst/>
          </a:prstGeom>
        </p:spPr>
      </p:pic>
      <p:pic>
        <p:nvPicPr>
          <p:cNvPr id="19" name="Graphic 18" descr="Briefcase with solid fill">
            <a:extLst>
              <a:ext uri="{FF2B5EF4-FFF2-40B4-BE49-F238E27FC236}">
                <a16:creationId xmlns:a16="http://schemas.microsoft.com/office/drawing/2014/main" id="{2FE8884C-1FB9-050B-CD40-241F7DC9FF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54299" y="1087164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FB3A3D6-390E-43D0-6E57-95FCDC8ACDAC}"/>
              </a:ext>
            </a:extLst>
          </p:cNvPr>
          <p:cNvSpPr txBox="1"/>
          <p:nvPr/>
        </p:nvSpPr>
        <p:spPr>
          <a:xfrm>
            <a:off x="1371600" y="1359698"/>
            <a:ext cx="74980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ES" sz="1800" b="0" dirty="0"/>
              <a:t>Mantenga a la vista su equipaje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46F585-8664-DADB-13CD-3F14EBD99C94}"/>
              </a:ext>
            </a:extLst>
          </p:cNvPr>
          <p:cNvSpPr txBox="1"/>
          <p:nvPr/>
        </p:nvSpPr>
        <p:spPr>
          <a:xfrm>
            <a:off x="1371600" y="2111395"/>
            <a:ext cx="7498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ES" sz="1800" b="0" dirty="0"/>
              <a:t>Indique en la recepción que </a:t>
            </a:r>
            <a:r>
              <a:rPr lang="es-MX" sz="1800" b="0" dirty="0"/>
              <a:t>por ningún motivo recibirá llamados al teléfono fijo de la habitación.</a:t>
            </a:r>
            <a:r>
              <a:rPr lang="es-ES" sz="1800" b="0" dirty="0"/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67BEBB-D825-8AD9-EB00-3D70C4ADBD6F}"/>
              </a:ext>
            </a:extLst>
          </p:cNvPr>
          <p:cNvSpPr txBox="1"/>
          <p:nvPr/>
        </p:nvSpPr>
        <p:spPr>
          <a:xfrm>
            <a:off x="1371600" y="3039692"/>
            <a:ext cx="7498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MX" sz="1800" b="0" dirty="0"/>
              <a:t>Durante la estancia, mantenga la puerta de la habitación cerrada y al salir, valide que esta cerró correctamente</a:t>
            </a:r>
            <a:endParaRPr lang="es-ES" sz="1800" b="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F18EA99-1FC7-A106-5B82-3D87C72FE5A6}"/>
              </a:ext>
            </a:extLst>
          </p:cNvPr>
          <p:cNvSpPr txBox="1"/>
          <p:nvPr/>
        </p:nvSpPr>
        <p:spPr>
          <a:xfrm>
            <a:off x="1371600" y="3942589"/>
            <a:ext cx="7498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MX" sz="1800" b="0" dirty="0"/>
              <a:t>Informe inmediatamente a la administración del hotel, si observa personas sospechosas. 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8749B6-C89B-D86A-63B0-9BDC12311C7A}"/>
              </a:ext>
            </a:extLst>
          </p:cNvPr>
          <p:cNvSpPr txBox="1"/>
          <p:nvPr/>
        </p:nvSpPr>
        <p:spPr>
          <a:xfrm>
            <a:off x="1371600" y="4895086"/>
            <a:ext cx="74980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MX" sz="1800" b="0" dirty="0"/>
              <a:t>Evite invitar a personas desconocidas a su habitación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24034AE-5534-7F55-E39D-C184B8ECD200}"/>
              </a:ext>
            </a:extLst>
          </p:cNvPr>
          <p:cNvSpPr txBox="1"/>
          <p:nvPr/>
        </p:nvSpPr>
        <p:spPr>
          <a:xfrm>
            <a:off x="1371600" y="5567065"/>
            <a:ext cx="749808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MX" dirty="0"/>
              <a:t>Valide en la recepción del hotel cualquier llamado inesperado o no solicitado a la puerta de su habitación</a:t>
            </a:r>
            <a:r>
              <a:rPr lang="es-MX" i="1" dirty="0"/>
              <a:t> (ej. personal mantenimiento, entregas, servicios del hotel)</a:t>
            </a:r>
            <a:endParaRPr lang="es-MX" sz="1800" b="0" i="1" dirty="0"/>
          </a:p>
        </p:txBody>
      </p:sp>
    </p:spTree>
    <p:extLst>
      <p:ext uri="{BB962C8B-B14F-4D97-AF65-F5344CB8AC3E}">
        <p14:creationId xmlns:p14="http://schemas.microsoft.com/office/powerpoint/2010/main" val="95018592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4">
            <a:extLst>
              <a:ext uri="{FF2B5EF4-FFF2-40B4-BE49-F238E27FC236}">
                <a16:creationId xmlns:a16="http://schemas.microsoft.com/office/drawing/2014/main" id="{7A3529C6-23EF-8257-E66E-E80340774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457200"/>
            <a:ext cx="8412163" cy="536575"/>
          </a:xfrm>
        </p:spPr>
        <p:txBody>
          <a:bodyPr/>
          <a:lstStyle/>
          <a:p>
            <a:r>
              <a:rPr lang="es-ES" b="1" cap="none" dirty="0"/>
              <a:t>Recomendaciones de seguridad en los hoteles</a:t>
            </a:r>
            <a:endParaRPr lang="en-US" b="1" cap="none" dirty="0"/>
          </a:p>
        </p:txBody>
      </p:sp>
      <p:pic>
        <p:nvPicPr>
          <p:cNvPr id="7" name="Graphic 6" descr="Checklist with solid fill">
            <a:extLst>
              <a:ext uri="{FF2B5EF4-FFF2-40B4-BE49-F238E27FC236}">
                <a16:creationId xmlns:a16="http://schemas.microsoft.com/office/drawing/2014/main" id="{2BBDD3E2-9E4D-F1B5-6E2A-2C6D5D7E04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1612" y="5486625"/>
            <a:ext cx="914400" cy="914400"/>
          </a:xfrm>
          <a:prstGeom prst="rect">
            <a:avLst/>
          </a:prstGeom>
        </p:spPr>
      </p:pic>
      <p:pic>
        <p:nvPicPr>
          <p:cNvPr id="10" name="Graphic 9" descr="Car with solid fill">
            <a:extLst>
              <a:ext uri="{FF2B5EF4-FFF2-40B4-BE49-F238E27FC236}">
                <a16:creationId xmlns:a16="http://schemas.microsoft.com/office/drawing/2014/main" id="{0E93A37E-93DD-EEE1-A655-602C90D463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1612" y="1457400"/>
            <a:ext cx="914400" cy="914400"/>
          </a:xfrm>
          <a:prstGeom prst="rect">
            <a:avLst/>
          </a:prstGeom>
        </p:spPr>
      </p:pic>
      <p:pic>
        <p:nvPicPr>
          <p:cNvPr id="13" name="Graphic 12" descr="Exit with solid fill">
            <a:extLst>
              <a:ext uri="{FF2B5EF4-FFF2-40B4-BE49-F238E27FC236}">
                <a16:creationId xmlns:a16="http://schemas.microsoft.com/office/drawing/2014/main" id="{BE63BCEF-06E1-C8A9-E0F5-84D5C46548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1612" y="4479318"/>
            <a:ext cx="914400" cy="914400"/>
          </a:xfrm>
          <a:prstGeom prst="rect">
            <a:avLst/>
          </a:prstGeom>
        </p:spPr>
      </p:pic>
      <p:pic>
        <p:nvPicPr>
          <p:cNvPr id="15" name="Graphic 14" descr="Siren with solid fill">
            <a:extLst>
              <a:ext uri="{FF2B5EF4-FFF2-40B4-BE49-F238E27FC236}">
                <a16:creationId xmlns:a16="http://schemas.microsoft.com/office/drawing/2014/main" id="{5C1BA48D-333B-5133-CD29-1B1A3F09CE0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71612" y="3472012"/>
            <a:ext cx="914400" cy="914400"/>
          </a:xfrm>
          <a:prstGeom prst="rect">
            <a:avLst/>
          </a:prstGeom>
        </p:spPr>
      </p:pic>
      <p:pic>
        <p:nvPicPr>
          <p:cNvPr id="17" name="Graphic 16" descr="Credit card with solid fill">
            <a:extLst>
              <a:ext uri="{FF2B5EF4-FFF2-40B4-BE49-F238E27FC236}">
                <a16:creationId xmlns:a16="http://schemas.microsoft.com/office/drawing/2014/main" id="{E91BDA2B-620C-1A4E-865C-F0843D4DC1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71612" y="2464706"/>
            <a:ext cx="914400" cy="9144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20C816-32ED-3571-B959-7B978FB8EBED}"/>
              </a:ext>
            </a:extLst>
          </p:cNvPr>
          <p:cNvSpPr txBox="1"/>
          <p:nvPr/>
        </p:nvSpPr>
        <p:spPr>
          <a:xfrm>
            <a:off x="1371600" y="1730493"/>
            <a:ext cx="74980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ES" sz="1800" b="0" dirty="0"/>
              <a:t>Asegure que el vehículo está cerrado y sin objetos de valor al interior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1441F3D-DF81-22FA-02E0-9C0C7C8C41D0}"/>
              </a:ext>
            </a:extLst>
          </p:cNvPr>
          <p:cNvSpPr txBox="1"/>
          <p:nvPr/>
        </p:nvSpPr>
        <p:spPr>
          <a:xfrm>
            <a:off x="1371600" y="2599300"/>
            <a:ext cx="7498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ES" sz="1800" b="0" dirty="0"/>
              <a:t>Al realizar pagos con tarjeta, asegure que los cobros son en su presencia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B38A37-9D4F-11F2-685B-AF6FF3850EE5}"/>
              </a:ext>
            </a:extLst>
          </p:cNvPr>
          <p:cNvSpPr txBox="1"/>
          <p:nvPr/>
        </p:nvSpPr>
        <p:spPr>
          <a:xfrm>
            <a:off x="1371600" y="3606046"/>
            <a:ext cx="7498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ES" dirty="0"/>
              <a:t>Solicite información sobre los servicios de emergencia </a:t>
            </a:r>
            <a:r>
              <a:rPr lang="es-ES" i="1" dirty="0"/>
              <a:t>(ej. médicos, alarmas, ruta de evacuación).</a:t>
            </a:r>
            <a:endParaRPr lang="es-ES" sz="1800" i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4CCCDC6-F23B-5687-D61B-6E53E8442A8B}"/>
              </a:ext>
            </a:extLst>
          </p:cNvPr>
          <p:cNvSpPr txBox="1"/>
          <p:nvPr/>
        </p:nvSpPr>
        <p:spPr>
          <a:xfrm>
            <a:off x="1371600" y="4751852"/>
            <a:ext cx="74980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ES" dirty="0"/>
              <a:t>Identifique la salida de emergencia más cercana.</a:t>
            </a:r>
            <a:endParaRPr lang="es-ES" sz="1800" b="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FC5A866-C0E3-D51D-E695-A9F189431309}"/>
              </a:ext>
            </a:extLst>
          </p:cNvPr>
          <p:cNvSpPr txBox="1"/>
          <p:nvPr/>
        </p:nvSpPr>
        <p:spPr>
          <a:xfrm>
            <a:off x="1371600" y="5620659"/>
            <a:ext cx="74980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algn="just"/>
            <a:r>
              <a:rPr lang="es-ES" dirty="0"/>
              <a:t>Al concluir la estancia, valide que lleca consigo todas sus pertenecías, documentos y equipo de la compañía. </a:t>
            </a:r>
            <a:endParaRPr lang="es-ES" sz="1800" b="0" dirty="0"/>
          </a:p>
        </p:txBody>
      </p:sp>
    </p:spTree>
    <p:extLst>
      <p:ext uri="{BB962C8B-B14F-4D97-AF65-F5344CB8AC3E}">
        <p14:creationId xmlns:p14="http://schemas.microsoft.com/office/powerpoint/2010/main" val="95663791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5E6C40E-CDBD-8EFB-71E3-8B5F759437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2" y="2006155"/>
            <a:ext cx="5024438" cy="1916808"/>
          </a:xfrm>
        </p:spPr>
        <p:txBody>
          <a:bodyPr/>
          <a:lstStyle/>
          <a:p>
            <a:pPr algn="just"/>
            <a:r>
              <a:rPr lang="es-ES" sz="1600" b="0" dirty="0"/>
              <a:t>En caso de ser víctima de un delito al interior del hotel: </a:t>
            </a:r>
          </a:p>
          <a:p>
            <a:pPr marL="287338" indent="-285750" algn="just">
              <a:buFontTx/>
              <a:buChar char="-"/>
            </a:pPr>
            <a:r>
              <a:rPr lang="es-ES" sz="1600" b="0" dirty="0"/>
              <a:t>Informa inmediatamente a la gerencia o administración del hotel, </a:t>
            </a:r>
          </a:p>
          <a:p>
            <a:pPr marL="287338" indent="-285750" algn="just">
              <a:buFontTx/>
              <a:buChar char="-"/>
            </a:pPr>
            <a:r>
              <a:rPr lang="es-ES" sz="1600" b="0" dirty="0"/>
              <a:t>Da parte de lo sucedido a las autoridades locales y, </a:t>
            </a:r>
          </a:p>
          <a:p>
            <a:pPr marL="287338" indent="-285750" algn="just">
              <a:buFontTx/>
              <a:buChar char="-"/>
            </a:pPr>
            <a:r>
              <a:rPr lang="es-ES" sz="1600" b="0" dirty="0"/>
              <a:t>Contacta a Seguridad Patrimonial y Protección.</a:t>
            </a:r>
          </a:p>
          <a:p>
            <a:pPr algn="just"/>
            <a:endParaRPr lang="en-US" sz="1600" b="0" dirty="0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7B7F7A6D-F941-2335-E5AC-325F0C36F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457200"/>
            <a:ext cx="8412163" cy="536575"/>
          </a:xfrm>
        </p:spPr>
        <p:txBody>
          <a:bodyPr/>
          <a:lstStyle/>
          <a:p>
            <a:r>
              <a:rPr lang="es-ES" b="1" cap="none" dirty="0"/>
              <a:t>Recomendaciones de seguridad en los hoteles</a:t>
            </a:r>
            <a:endParaRPr lang="en-US" b="1" cap="none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17B50E62-53C1-19BF-F9D5-B18E2A51E4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546192"/>
              </p:ext>
            </p:extLst>
          </p:nvPr>
        </p:nvGraphicFramePr>
        <p:xfrm>
          <a:off x="373062" y="4437342"/>
          <a:ext cx="8412480" cy="1554479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67038">
                  <a:extLst>
                    <a:ext uri="{9D8B030D-6E8A-4147-A177-3AD203B41FA5}">
                      <a16:colId xmlns:a16="http://schemas.microsoft.com/office/drawing/2014/main" val="3907276376"/>
                    </a:ext>
                  </a:extLst>
                </a:gridCol>
                <a:gridCol w="6245442">
                  <a:extLst>
                    <a:ext uri="{9D8B030D-6E8A-4147-A177-3AD203B41FA5}">
                      <a16:colId xmlns:a16="http://schemas.microsoft.com/office/drawing/2014/main" val="155744843"/>
                    </a:ext>
                  </a:extLst>
                </a:gridCol>
              </a:tblGrid>
              <a:tr h="312622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b="1" dirty="0">
                          <a:solidFill>
                            <a:schemeClr val="bg1"/>
                          </a:solidFill>
                          <a:effectLst/>
                        </a:rPr>
                        <a:t>Contacto a Centro de Control Sempra Infraestructura México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01C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728382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Lada sin costo (24 horas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(800) 890-354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886817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Celular (WhatsApp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(55) 3223-2103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82888773"/>
                  </a:ext>
                </a:extLst>
              </a:tr>
              <a:tr h="29105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dirty="0">
                          <a:effectLst/>
                        </a:rPr>
                        <a:t>Corre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u="sng" dirty="0">
                          <a:effectLst/>
                          <a:hlinkClick r:id="rId5"/>
                        </a:rPr>
                        <a:t>seguridad_corporativa@sempraglobal.com.mx</a:t>
                      </a:r>
                      <a:r>
                        <a:rPr lang="es-ES" sz="1400" u="sng" dirty="0">
                          <a:effectLst/>
                        </a:rPr>
                        <a:t>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494932"/>
                  </a:ext>
                </a:extLst>
              </a:tr>
              <a:tr h="403627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MX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o con el Líder de Seguridad Patrimonial y Protección de tu región.</a:t>
                      </a:r>
                      <a:endParaRPr lang="es-MX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541541"/>
                  </a:ext>
                </a:extLst>
              </a:tr>
            </a:tbl>
          </a:graphicData>
        </a:graphic>
      </p:graphicFrame>
      <p:pic>
        <p:nvPicPr>
          <p:cNvPr id="12" name="Picture 11" descr="Cartoon a cartoon of a person holding a phone&#10;&#10;Description automatically generated">
            <a:extLst>
              <a:ext uri="{FF2B5EF4-FFF2-40B4-BE49-F238E27FC236}">
                <a16:creationId xmlns:a16="http://schemas.microsoft.com/office/drawing/2014/main" id="{4E12F8E9-E782-5744-2A8A-8CA720BD68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3311" y="1491775"/>
            <a:ext cx="2945567" cy="294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79478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empra Template 2021_4x3">
  <a:themeElements>
    <a:clrScheme name="IR Version">
      <a:dk1>
        <a:srgbClr val="000000"/>
      </a:dk1>
      <a:lt1>
        <a:srgbClr val="FFFFFF"/>
      </a:lt1>
      <a:dk2>
        <a:srgbClr val="001C71"/>
      </a:dk2>
      <a:lt2>
        <a:srgbClr val="009BDA"/>
      </a:lt2>
      <a:accent1>
        <a:srgbClr val="001C71"/>
      </a:accent1>
      <a:accent2>
        <a:srgbClr val="0073A3"/>
      </a:accent2>
      <a:accent3>
        <a:srgbClr val="009BDA"/>
      </a:accent3>
      <a:accent4>
        <a:srgbClr val="51C6D8"/>
      </a:accent4>
      <a:accent5>
        <a:srgbClr val="23AE49"/>
      </a:accent5>
      <a:accent6>
        <a:srgbClr val="646E7B"/>
      </a:accent6>
      <a:hlink>
        <a:srgbClr val="001C71"/>
      </a:hlink>
      <a:folHlink>
        <a:srgbClr val="51C6D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wrap="none" lIns="82058" tIns="41029" rIns="82058" bIns="41029" anchor="ctr"/>
      <a:lstStyle>
        <a:defPPr defTabSz="914382">
          <a:defRPr sz="1400">
            <a:solidFill>
              <a:srgbClr val="FFFFFF"/>
            </a:solidFill>
            <a:cs typeface="Arial" panose="020B0604020202020204" pitchFamily="34" charset="0"/>
          </a:defRPr>
        </a:defPPr>
      </a:lst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Eternal Blue">
      <a:srgbClr val="001C71"/>
    </a:custClr>
    <a:custClr name="Midday Sky">
      <a:srgbClr val="009BDA"/>
    </a:custClr>
    <a:custClr name="Cove Blue">
      <a:srgbClr val="52C6D8"/>
    </a:custClr>
    <a:custClr name="Field Green">
      <a:srgbClr val="23AE49"/>
    </a:custClr>
    <a:custClr name="Sunburst Yellow">
      <a:srgbClr val="FBDD3E"/>
    </a:custClr>
    <a:custClr name="Slate">
      <a:srgbClr val="646E7B"/>
    </a:custClr>
    <a:custClr name="White">
      <a:srgbClr val="FFFFFF"/>
    </a:custClr>
    <a:custClr name="Deep Blue Sea">
      <a:srgbClr val="0074A3"/>
    </a:custClr>
    <a:custClr name="Creek Stone">
      <a:srgbClr val="D9D1B4"/>
    </a:custClr>
    <a:custClr name="White">
      <a:srgbClr val="FFFFFF"/>
    </a:custClr>
    <a:custClr name="80% Eternal Blue">
      <a:srgbClr val="33498D"/>
    </a:custClr>
    <a:custClr name="80% Midday Sky">
      <a:srgbClr val="33AFE1"/>
    </a:custClr>
    <a:custClr name="80% Cove Blue">
      <a:srgbClr val="75D1E0"/>
    </a:custClr>
    <a:custClr name="80% Field Green">
      <a:srgbClr val="4FBE6D"/>
    </a:custClr>
    <a:custClr name="80% Sunburst Yellow">
      <a:srgbClr val="FCE465"/>
    </a:custClr>
    <a:custClr name="80% Slate">
      <a:srgbClr val="838B9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60% Eternal Blue">
      <a:srgbClr val="6677AA"/>
    </a:custClr>
    <a:custClr name="60% Midday Sky">
      <a:srgbClr val="66C3E9"/>
    </a:custClr>
    <a:custClr name="60% Cove Blue">
      <a:srgbClr val="97DDE8"/>
    </a:custClr>
    <a:custClr name="60% Field Green">
      <a:srgbClr val="7BCE92"/>
    </a:custClr>
    <a:custClr name="60% Sunburst Yellow">
      <a:srgbClr val="FDEB8B"/>
    </a:custClr>
    <a:custClr name="60% Slate">
      <a:srgbClr val="A2A8B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40% Eternal Blue">
      <a:srgbClr val="99A4C6"/>
    </a:custClr>
    <a:custClr name="40% Midday Sky">
      <a:srgbClr val="99D7F0"/>
    </a:custClr>
    <a:custClr name="40% Cove Blue">
      <a:srgbClr val="BAE8EF"/>
    </a:custClr>
    <a:custClr name="40% Field Green">
      <a:srgbClr val="A7DFB6"/>
    </a:custClr>
    <a:custClr name="40% Sunburst Yellow">
      <a:srgbClr val="FDF1B2"/>
    </a:custClr>
    <a:custClr name="40% Slate">
      <a:srgbClr val="C1C5CA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20% Eternal Blue">
      <a:srgbClr val="CCD2E3"/>
    </a:custClr>
    <a:custClr name="20% Midday Sky">
      <a:srgbClr val="CCEBF8"/>
    </a:custClr>
    <a:custClr name="20% Cove Blue">
      <a:srgbClr val="DCF4F7"/>
    </a:custClr>
    <a:custClr name="20% Field Green">
      <a:srgbClr val="D3EFDB"/>
    </a:custClr>
    <a:custClr name="20% Sunburst Yellow">
      <a:srgbClr val="FEF8D8"/>
    </a:custClr>
    <a:custClr name="20% Slate">
      <a:srgbClr val="E0E2E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4" id="{FD9903D0-A50A-2347-A46A-6ECE6C793C05}" vid="{C8011490-0347-2D40-87F7-D87184BAB5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8012E1B564424187BA0013A1E4CC09" ma:contentTypeVersion="24" ma:contentTypeDescription="Create a new document." ma:contentTypeScope="" ma:versionID="9b5aef8bd927acca594a7c14c105936d">
  <xsd:schema xmlns:xsd="http://www.w3.org/2001/XMLSchema" xmlns:xs="http://www.w3.org/2001/XMLSchema" xmlns:p="http://schemas.microsoft.com/office/2006/metadata/properties" xmlns:ns2="4ed9e502-03c7-4155-a3d6-70e3032a3089" xmlns:ns3="821e24dd-0fa0-413c-a2eb-0b3240688335" targetNamespace="http://schemas.microsoft.com/office/2006/metadata/properties" ma:root="true" ma:fieldsID="31f126debb0c869e67de35e20b3bd714" ns2:_="" ns3:_="">
    <xsd:import namespace="4ed9e502-03c7-4155-a3d6-70e3032a3089"/>
    <xsd:import namespace="821e24dd-0fa0-413c-a2eb-0b32406883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FileLocation" minOccurs="0"/>
                <xsd:element ref="ns2:afb20664-cb05-41cc-9c20-e05a99dbd519CountryOrRegion" minOccurs="0"/>
                <xsd:element ref="ns2:afb20664-cb05-41cc-9c20-e05a99dbd519State" minOccurs="0"/>
                <xsd:element ref="ns2:afb20664-cb05-41cc-9c20-e05a99dbd519City" minOccurs="0"/>
                <xsd:element ref="ns2:afb20664-cb05-41cc-9c20-e05a99dbd519PostalCode" minOccurs="0"/>
                <xsd:element ref="ns2:afb20664-cb05-41cc-9c20-e05a99dbd519Street" minOccurs="0"/>
                <xsd:element ref="ns2:afb20664-cb05-41cc-9c20-e05a99dbd519GeoLoc" minOccurs="0"/>
                <xsd:element ref="ns2:afb20664-cb05-41cc-9c20-e05a99dbd519DispName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9e502-03c7-4155-a3d6-70e3032a30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FileLocation" ma:index="19" nillable="true" ma:displayName="File Location" ma:format="Dropdown" ma:internalName="FileLocation">
      <xsd:simpleType>
        <xsd:restriction base="dms:Unknown"/>
      </xsd:simpleType>
    </xsd:element>
    <xsd:element name="afb20664-cb05-41cc-9c20-e05a99dbd519CountryOrRegion" ma:index="20" nillable="true" ma:displayName="File Location: Country/Region" ma:internalName="CountryOrRegion" ma:readOnly="true">
      <xsd:simpleType>
        <xsd:restriction base="dms:Text"/>
      </xsd:simpleType>
    </xsd:element>
    <xsd:element name="afb20664-cb05-41cc-9c20-e05a99dbd519State" ma:index="21" nillable="true" ma:displayName="File Location: State" ma:internalName="State" ma:readOnly="true">
      <xsd:simpleType>
        <xsd:restriction base="dms:Text"/>
      </xsd:simpleType>
    </xsd:element>
    <xsd:element name="afb20664-cb05-41cc-9c20-e05a99dbd519City" ma:index="22" nillable="true" ma:displayName="File Location: City" ma:internalName="City" ma:readOnly="true">
      <xsd:simpleType>
        <xsd:restriction base="dms:Text"/>
      </xsd:simpleType>
    </xsd:element>
    <xsd:element name="afb20664-cb05-41cc-9c20-e05a99dbd519PostalCode" ma:index="23" nillable="true" ma:displayName="File Location: Postal Code" ma:internalName="PostalCode" ma:readOnly="true">
      <xsd:simpleType>
        <xsd:restriction base="dms:Text"/>
      </xsd:simpleType>
    </xsd:element>
    <xsd:element name="afb20664-cb05-41cc-9c20-e05a99dbd519Street" ma:index="24" nillable="true" ma:displayName="File Location: Street" ma:internalName="Street" ma:readOnly="true">
      <xsd:simpleType>
        <xsd:restriction base="dms:Text"/>
      </xsd:simpleType>
    </xsd:element>
    <xsd:element name="afb20664-cb05-41cc-9c20-e05a99dbd519GeoLoc" ma:index="25" nillable="true" ma:displayName="File Location: Coordinates" ma:internalName="GeoLoc" ma:readOnly="true">
      <xsd:simpleType>
        <xsd:restriction base="dms:Unknown"/>
      </xsd:simpleType>
    </xsd:element>
    <xsd:element name="afb20664-cb05-41cc-9c20-e05a99dbd519DispName" ma:index="26" nillable="true" ma:displayName="File Location: Name" ma:internalName="DispName" ma:readOnly="true">
      <xsd:simpleType>
        <xsd:restriction base="dms:Text"/>
      </xsd:simple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LengthInSeconds" ma:index="2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30" nillable="true" ma:taxonomy="true" ma:internalName="lcf76f155ced4ddcb4097134ff3c332f" ma:taxonomyFieldName="MediaServiceImageTags" ma:displayName="Image Tags" ma:readOnly="false" ma:fieldId="{5cf76f15-5ced-4ddc-b409-7134ff3c332f}" ma:taxonomyMulti="true" ma:sspId="199c8f0f-62e3-48c7-84e8-4daf5ce6c20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1e24dd-0fa0-413c-a2eb-0b324068833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1" nillable="true" ma:displayName="Taxonomy Catch All Column" ma:hidden="true" ma:list="{77eebe97-6e66-42a6-b859-bad3e317ec50}" ma:internalName="TaxCatchAll" ma:showField="CatchAllData" ma:web="821e24dd-0fa0-413c-a2eb-0b32406883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ileLocation xmlns="4ed9e502-03c7-4155-a3d6-70e3032a3089" xsi:nil="true"/>
    <TaxCatchAll xmlns="821e24dd-0fa0-413c-a2eb-0b3240688335" xsi:nil="true"/>
    <lcf76f155ced4ddcb4097134ff3c332f xmlns="4ed9e502-03c7-4155-a3d6-70e3032a308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B83C4D7-8EBC-4B53-A229-FFBB763F61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C44F0A-25E8-4BFD-ADB0-F748CD9D5C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d9e502-03c7-4155-a3d6-70e3032a3089"/>
    <ds:schemaRef ds:uri="821e24dd-0fa0-413c-a2eb-0b32406883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6111BF-8CE0-4526-ACC7-9150E63FE11A}">
  <ds:schemaRefs>
    <ds:schemaRef ds:uri="http://schemas.microsoft.com/office/2006/metadata/properties"/>
    <ds:schemaRef ds:uri="http://schemas.microsoft.com/office/infopath/2007/PartnerControls"/>
    <ds:schemaRef ds:uri="4ed9e502-03c7-4155-a3d6-70e3032a3089"/>
    <ds:schemaRef ds:uri="821e24dd-0fa0-413c-a2eb-0b324068833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7</TotalTime>
  <Words>350</Words>
  <Application>Microsoft Office PowerPoint</Application>
  <PresentationFormat>On-screen Show (4:3)</PresentationFormat>
  <Paragraphs>32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</vt:lpstr>
      <vt:lpstr>1_Sempra Template 2021_4x3</vt:lpstr>
      <vt:lpstr>think-cell Slide</vt:lpstr>
      <vt:lpstr>Recomendaciones  de seguridad  en los hoteles</vt:lpstr>
      <vt:lpstr>Recomendaciones de seguridad en los hoteles</vt:lpstr>
      <vt:lpstr>Recomendaciones de seguridad en los hoteles</vt:lpstr>
      <vt:lpstr>Recomendaciones de seguridad en los hoteles</vt:lpstr>
      <vt:lpstr>Recomendaciones de seguridad en los hotel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</dc:title>
  <dc:creator>Breach, Mary</dc:creator>
  <cp:lastModifiedBy>Maldonado, Mitzli</cp:lastModifiedBy>
  <cp:revision>32</cp:revision>
  <dcterms:created xsi:type="dcterms:W3CDTF">2021-04-07T20:19:21Z</dcterms:created>
  <dcterms:modified xsi:type="dcterms:W3CDTF">2023-08-21T22:0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8012E1B564424187BA0013A1E4CC09</vt:lpwstr>
  </property>
  <property fmtid="{D5CDD505-2E9C-101B-9397-08002B2CF9AE}" pid="3" name="MediaServiceImageTags">
    <vt:lpwstr/>
  </property>
</Properties>
</file>